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jpeg" ContentType="image/jpeg"/>
  <Default Extension="emf" ContentType="image/x-emf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7" r:id="rId8"/>
  </p:sldMasterIdLst>
  <p:notesMasterIdLst>
    <p:notesMasterId r:id="rId15"/>
  </p:notesMasterIdLst>
  <p:handoutMasterIdLst>
    <p:handoutMasterId r:id="rId16"/>
  </p:handoutMasterIdLst>
  <p:sldIdLst>
    <p:sldId id="670" r:id="rId9"/>
    <p:sldId id="668" r:id="rId10"/>
    <p:sldId id="889" r:id="rId11"/>
    <p:sldId id="890" r:id="rId12"/>
    <p:sldId id="891" r:id="rId13"/>
    <p:sldId id="892" r:id="rId14"/>
  </p:sldIdLst>
  <p:sldSz cx="9144000" cy="6858000" type="screen4x3"/>
  <p:notesSz cx="6807200" cy="9939338"/>
  <p:custDataLst>
    <p:tags r:id="rId1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charset="0"/>
        <a:ea typeface="宋体" pitchFamily="2" charset="-122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charset="0"/>
        <a:ea typeface="宋体" pitchFamily="2" charset="-122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charset="0"/>
        <a:ea typeface="宋体" pitchFamily="2" charset="-122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charset="0"/>
        <a:ea typeface="宋体" pitchFamily="2" charset="-122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rgbClr val="000000"/>
        </a:solidFill>
        <a:latin typeface="Arial" charset="0"/>
        <a:ea typeface="宋体" pitchFamily="2" charset="-122"/>
        <a:cs typeface="Arial" charset="0"/>
      </a:defRPr>
    </a:lvl5pPr>
    <a:lvl6pPr marL="2286000" algn="l" defTabSz="914400" rtl="0" eaLnBrk="1" latinLnBrk="0" hangingPunct="1">
      <a:defRPr sz="900" kern="1200">
        <a:solidFill>
          <a:srgbClr val="000000"/>
        </a:solidFill>
        <a:latin typeface="Arial" charset="0"/>
        <a:ea typeface="宋体" pitchFamily="2" charset="-122"/>
        <a:cs typeface="Arial" charset="0"/>
      </a:defRPr>
    </a:lvl6pPr>
    <a:lvl7pPr marL="2743200" algn="l" defTabSz="914400" rtl="0" eaLnBrk="1" latinLnBrk="0" hangingPunct="1">
      <a:defRPr sz="900" kern="1200">
        <a:solidFill>
          <a:srgbClr val="000000"/>
        </a:solidFill>
        <a:latin typeface="Arial" charset="0"/>
        <a:ea typeface="宋体" pitchFamily="2" charset="-122"/>
        <a:cs typeface="Arial" charset="0"/>
      </a:defRPr>
    </a:lvl7pPr>
    <a:lvl8pPr marL="3200400" algn="l" defTabSz="914400" rtl="0" eaLnBrk="1" latinLnBrk="0" hangingPunct="1">
      <a:defRPr sz="900" kern="1200">
        <a:solidFill>
          <a:srgbClr val="000000"/>
        </a:solidFill>
        <a:latin typeface="Arial" charset="0"/>
        <a:ea typeface="宋体" pitchFamily="2" charset="-122"/>
        <a:cs typeface="Arial" charset="0"/>
      </a:defRPr>
    </a:lvl8pPr>
    <a:lvl9pPr marL="3657600" algn="l" defTabSz="914400" rtl="0" eaLnBrk="1" latinLnBrk="0" hangingPunct="1">
      <a:defRPr sz="900" kern="1200">
        <a:solidFill>
          <a:srgbClr val="000000"/>
        </a:solidFill>
        <a:latin typeface="Arial" charset="0"/>
        <a:ea typeface="宋体" pitchFamily="2" charset="-122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 " initials=" 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33"/>
    <a:srgbClr val="FF0000"/>
    <a:srgbClr val="EBEBEB"/>
    <a:srgbClr val="003399"/>
    <a:srgbClr val="91AAAA"/>
    <a:srgbClr val="CCFF99"/>
    <a:srgbClr val="800000"/>
    <a:srgbClr val="006600"/>
    <a:srgbClr val="006666"/>
    <a:srgbClr val="660066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9485" autoAdjust="0"/>
    <p:restoredTop sz="80542" autoAdjust="0"/>
  </p:normalViewPr>
  <p:slideViewPr>
    <p:cSldViewPr snapToGrid="0">
      <p:cViewPr varScale="1">
        <p:scale>
          <a:sx n="77" d="100"/>
          <a:sy n="77" d="100"/>
        </p:scale>
        <p:origin x="-1051" y="-78"/>
      </p:cViewPr>
      <p:guideLst>
        <p:guide orient="horz" pos="1204"/>
        <p:guide orient="horz" pos="2993"/>
        <p:guide orient="horz" pos="328"/>
        <p:guide orient="horz" pos="3981"/>
        <p:guide orient="horz" pos="2329"/>
        <p:guide pos="2692"/>
        <p:guide pos="2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212"/>
    </p:cViewPr>
  </p:sorterViewPr>
  <p:notesViewPr>
    <p:cSldViewPr snapToGrid="0">
      <p:cViewPr varScale="1">
        <p:scale>
          <a:sx n="51" d="100"/>
          <a:sy n="51" d="100"/>
        </p:scale>
        <p:origin x="-3006" y="-96"/>
      </p:cViewPr>
      <p:guideLst>
        <p:guide orient="horz" pos="3131"/>
        <p:guide pos="214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1.xml"/><Relationship Id="rId13" Type="http://schemas.openxmlformats.org/officeDocument/2006/relationships/slide" Target="slides/slide5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" Target="slides/slide4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5" Type="http://schemas.openxmlformats.org/officeDocument/2006/relationships/customXml" Target="../customXml/item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bleStyles" Target="tableStyles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50528" cy="497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Siemens Sans" pitchFamily="2" charset="0"/>
                <a:ea typeface="宋体" pitchFamily="2" charset="-122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6672" y="1"/>
            <a:ext cx="2950528" cy="497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Siemens Sans" pitchFamily="2" charset="0"/>
                <a:ea typeface="宋体" pitchFamily="2" charset="-122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41895"/>
            <a:ext cx="2950528" cy="497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Siemens Sans" pitchFamily="2" charset="0"/>
                <a:ea typeface="宋体" pitchFamily="2" charset="-122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6672" y="9441895"/>
            <a:ext cx="2950528" cy="497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Siemens Sans" pitchFamily="2" charset="0"/>
                <a:ea typeface="宋体" pitchFamily="2" charset="-122"/>
                <a:cs typeface="Arial" charset="0"/>
              </a:defRPr>
            </a:lvl1pPr>
          </a:lstStyle>
          <a:p>
            <a:pPr>
              <a:defRPr/>
            </a:pPr>
            <a:fld id="{89C2A087-EC85-4C32-BB7E-995AB09EFB7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50528" cy="497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61" tIns="45730" rIns="91461" bIns="4573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Siemens Sans" pitchFamily="2" charset="0"/>
                <a:ea typeface="宋体" pitchFamily="2" charset="-122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3492" y="1"/>
            <a:ext cx="2952119" cy="497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61" tIns="45730" rIns="91461" bIns="4573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Siemens Sans" pitchFamily="2" charset="0"/>
                <a:ea typeface="宋体" pitchFamily="2" charset="-122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5513" y="747713"/>
            <a:ext cx="4960937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403" y="4721743"/>
            <a:ext cx="5446396" cy="4469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61" tIns="45730" rIns="91461" bIns="457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40305"/>
            <a:ext cx="2950528" cy="497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61" tIns="45730" rIns="91461" bIns="4573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Siemens Sans" pitchFamily="2" charset="0"/>
                <a:ea typeface="宋体" pitchFamily="2" charset="-122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3492" y="9440305"/>
            <a:ext cx="2952119" cy="497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61" tIns="45730" rIns="91461" bIns="4573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Siemens Sans" pitchFamily="2" charset="0"/>
                <a:ea typeface="宋体" pitchFamily="2" charset="-122"/>
                <a:cs typeface="Arial" charset="0"/>
              </a:defRPr>
            </a:lvl1pPr>
          </a:lstStyle>
          <a:p>
            <a:pPr>
              <a:defRPr/>
            </a:pPr>
            <a:fld id="{D994841B-F4AF-4819-904E-9FA638B9C5D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iemens Sans" pitchFamily="2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iemens Sans" pitchFamily="2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iemens Sans" pitchFamily="2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iemens Sans" pitchFamily="2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iemens Sans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517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2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517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3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5176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4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517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5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517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7663" y="263525"/>
            <a:ext cx="2051050" cy="13414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9750" y="263525"/>
            <a:ext cx="6005513" cy="13414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39750" y="263525"/>
            <a:ext cx="6396038" cy="8096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539750" y="1392238"/>
            <a:ext cx="8208963" cy="212725"/>
          </a:xfrm>
        </p:spPr>
        <p:txBody>
          <a:bodyPr/>
          <a:lstStyle/>
          <a:p>
            <a:pPr lvl="0"/>
            <a:endParaRPr lang="zh-CN" altLang="en-US" noProof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9750" y="1412874"/>
            <a:ext cx="8208963" cy="215444"/>
          </a:xfrm>
        </p:spPr>
        <p:txBody>
          <a:bodyPr/>
          <a:lstStyle>
            <a:lvl1pPr>
              <a:buClr>
                <a:srgbClr val="879BAA"/>
              </a:buClr>
              <a:buFont typeface="Arial" pitchFamily="34" charset="0"/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1392238"/>
            <a:ext cx="4027488" cy="21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9638" y="1392238"/>
            <a:ext cx="4029075" cy="21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6450" name="Rectangle 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87338" y="261938"/>
            <a:ext cx="8856662" cy="971550"/>
          </a:xfrm>
          <a:prstGeom prst="rect">
            <a:avLst/>
          </a:prstGeom>
          <a:solidFill>
            <a:srgbClr val="FE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zh-CN" altLang="en-US" sz="2000">
              <a:solidFill>
                <a:srgbClr val="FFFFFF"/>
              </a:solidFill>
            </a:endParaRPr>
          </a:p>
        </p:txBody>
      </p:sp>
      <p:sp>
        <p:nvSpPr>
          <p:cNvPr id="103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263525"/>
            <a:ext cx="6396038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Mastertitelformat bearbeiten</a:t>
            </a:r>
          </a:p>
        </p:txBody>
      </p:sp>
      <p:sp>
        <p:nvSpPr>
          <p:cNvPr id="1031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392238"/>
            <a:ext cx="82089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Mastertextformat bearbeiten</a:t>
            </a:r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16" imgW="0" imgH="0" progId="">
              <p:embed/>
            </p:oleObj>
          </a:graphicData>
        </a:graphic>
      </p:graphicFrame>
      <p:pic>
        <p:nvPicPr>
          <p:cNvPr id="1033" name="Picture 11" descr="Smart_Metering_Solutions_Logo_RGB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600700" y="447675"/>
            <a:ext cx="32766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7"/>
          <p:cNvSpPr txBox="1">
            <a:spLocks noChangeArrowheads="1"/>
          </p:cNvSpPr>
          <p:nvPr userDrawn="1"/>
        </p:nvSpPr>
        <p:spPr bwMode="auto">
          <a:xfrm>
            <a:off x="581851" y="6573520"/>
            <a:ext cx="8193087" cy="128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r">
              <a:spcBef>
                <a:spcPct val="50000"/>
              </a:spcBef>
              <a:defRPr/>
            </a:pPr>
            <a:r>
              <a:rPr lang="en-US" sz="1100" b="0" dirty="0">
                <a:solidFill>
                  <a:schemeClr val="tx1"/>
                </a:solidFill>
                <a:latin typeface="Arial" charset="0"/>
                <a:cs typeface="Arial" charset="0"/>
              </a:rPr>
              <a:t>© </a:t>
            </a:r>
            <a:r>
              <a:rPr lang="en-US" sz="1100" b="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Smart</a:t>
            </a:r>
            <a:r>
              <a:rPr lang="en-US" sz="1100" b="0" baseline="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Metering Solutions </a:t>
            </a:r>
            <a:r>
              <a:rPr lang="en-US" sz="1100" b="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2019. </a:t>
            </a:r>
            <a:r>
              <a:rPr lang="en-US" sz="1100" b="0" dirty="0">
                <a:solidFill>
                  <a:schemeClr val="tx1"/>
                </a:solidFill>
                <a:latin typeface="Arial" charset="0"/>
                <a:cs typeface="Arial" charset="0"/>
              </a:rPr>
              <a:t>All rights reserved</a:t>
            </a:r>
            <a:r>
              <a:rPr lang="en-US" sz="1200" b="0" dirty="0">
                <a:solidFill>
                  <a:schemeClr val="tx1"/>
                </a:solidFill>
                <a:latin typeface="Arial" charset="0"/>
                <a:cs typeface="Arial" charset="0"/>
              </a:rPr>
              <a:t>.</a:t>
            </a:r>
            <a:endParaRPr lang="en-US" altLang="zh-CN" sz="1200" b="0" dirty="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7" r:id="rId2"/>
    <p:sldLayoutId id="2147483666" r:id="rId3"/>
    <p:sldLayoutId id="2147483665" r:id="rId4"/>
    <p:sldLayoutId id="2147483664" r:id="rId5"/>
    <p:sldLayoutId id="2147483663" r:id="rId6"/>
    <p:sldLayoutId id="2147483662" r:id="rId7"/>
    <p:sldLayoutId id="2147483661" r:id="rId8"/>
    <p:sldLayoutId id="2147483660" r:id="rId9"/>
    <p:sldLayoutId id="2147483659" r:id="rId10"/>
    <p:sldLayoutId id="2147483658" r:id="rId11"/>
    <p:sldLayoutId id="2147483672" r:id="rId12"/>
  </p:sldLayoutIdLst>
  <p:txStyles>
    <p:titleStyle>
      <a:lvl1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2pPr>
      <a:lvl3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3pPr>
      <a:lvl4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4pPr>
      <a:lvl5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5pPr>
      <a:lvl6pPr marL="4572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6pPr>
      <a:lvl7pPr marL="9144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7pPr>
      <a:lvl8pPr marL="13716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8pPr>
      <a:lvl9pPr marL="18288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4625" algn="l" defTabSz="7620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2pPr>
      <a:lvl3pPr marL="369888" indent="-192088" algn="l" defTabSz="7620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3pPr>
      <a:lvl4pPr marL="536575" indent="-165100" algn="l" defTabSz="7620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4pPr>
      <a:lvl5pPr marL="715963" indent="-177800" algn="l" defTabSz="7620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5pPr>
      <a:lvl6pPr marL="11731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6pPr>
      <a:lvl7pPr marL="16303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7pPr>
      <a:lvl8pPr marL="20875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8pPr>
      <a:lvl9pPr marL="25447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2.v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86082" name="think-cell Slide" r:id="rId3" imgW="360" imgH="360" progId="">
              <p:embed/>
            </p:oleObj>
          </a:graphicData>
        </a:graphic>
      </p:graphicFrame>
      <p:sp>
        <p:nvSpPr>
          <p:cNvPr id="5" name="Rectangle 13"/>
          <p:cNvSpPr>
            <a:spLocks noChangeArrowheads="1"/>
          </p:cNvSpPr>
          <p:nvPr/>
        </p:nvSpPr>
        <p:spPr bwMode="auto">
          <a:xfrm>
            <a:off x="448627" y="1547271"/>
            <a:ext cx="8116253" cy="3725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762000">
              <a:buFont typeface="Wingdings" pitchFamily="2" charset="2"/>
              <a:buNone/>
            </a:pPr>
            <a:r>
              <a:rPr lang="zh-CN" altLang="en-US" sz="3200" b="1" dirty="0" smtClean="0">
                <a:solidFill>
                  <a:schemeClr val="tx1"/>
                </a:solidFill>
              </a:rPr>
              <a:t>如何用</a:t>
            </a:r>
            <a:r>
              <a:rPr lang="en-US" altLang="zh-CN" sz="3200" b="1" dirty="0" smtClean="0">
                <a:solidFill>
                  <a:schemeClr val="tx1"/>
                </a:solidFill>
              </a:rPr>
              <a:t>OA</a:t>
            </a:r>
            <a:r>
              <a:rPr lang="zh-CN" altLang="en-US" sz="3200" b="1" dirty="0" smtClean="0">
                <a:solidFill>
                  <a:schemeClr val="tx1"/>
                </a:solidFill>
              </a:rPr>
              <a:t>系统预约会议室</a:t>
            </a:r>
            <a:endParaRPr lang="en-US" altLang="zh-CN" sz="3200" b="1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Clr>
                <a:schemeClr val="accent2"/>
              </a:buClr>
              <a:buSzPct val="110000"/>
            </a:pPr>
            <a:endParaRPr lang="en-US" altLang="zh-CN" sz="2400" b="1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Clr>
                <a:schemeClr val="accent2"/>
              </a:buClr>
              <a:buSzPct val="110000"/>
            </a:pPr>
            <a:endParaRPr lang="en-US" altLang="zh-CN" sz="2400" b="1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Clr>
                <a:schemeClr val="accent2"/>
              </a:buClr>
              <a:buSzPct val="110000"/>
            </a:pPr>
            <a:r>
              <a:rPr lang="zh-CN" altLang="en-US" sz="2800" b="1" dirty="0" smtClean="0">
                <a:solidFill>
                  <a:schemeClr val="tx1"/>
                </a:solidFill>
              </a:rPr>
              <a:t>综合管理部</a:t>
            </a:r>
            <a:endParaRPr lang="en-US" altLang="zh-CN" sz="2800" b="1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Clr>
                <a:schemeClr val="accent2"/>
              </a:buClr>
              <a:buSzPct val="110000"/>
            </a:pPr>
            <a:r>
              <a:rPr lang="en-US" altLang="zh-CN" sz="2000" b="1" dirty="0" smtClean="0">
                <a:solidFill>
                  <a:schemeClr val="tx1"/>
                </a:solidFill>
              </a:rPr>
              <a:t>Mar 11</a:t>
            </a:r>
            <a:r>
              <a:rPr lang="en-US" altLang="zh-CN" sz="2000" b="1" baseline="30000" dirty="0" smtClean="0">
                <a:solidFill>
                  <a:schemeClr val="tx1"/>
                </a:solidFill>
              </a:rPr>
              <a:t>th</a:t>
            </a:r>
            <a:r>
              <a:rPr lang="en-US" altLang="zh-CN" sz="2000" b="1" dirty="0" smtClean="0">
                <a:solidFill>
                  <a:schemeClr val="tx1"/>
                </a:solidFill>
              </a:rPr>
              <a:t>, 2019</a:t>
            </a:r>
            <a:endParaRPr lang="en-US" altLang="zh-CN" sz="2400" b="1" dirty="0" smtClean="0">
              <a:solidFill>
                <a:schemeClr val="tx1"/>
              </a:solidFill>
            </a:endParaRPr>
          </a:p>
          <a:p>
            <a:pPr defTabSz="762000">
              <a:buFont typeface="Wingdings" pitchFamily="2" charset="2"/>
              <a:buNone/>
            </a:pPr>
            <a:endParaRPr lang="en-US" altLang="zh-CN" sz="24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756546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84034" name="think-cell Slide" r:id="rId5" imgW="360" imgH="360" progId="">
              <p:embed/>
            </p:oleObj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72000" rtlCol="0" anchor="t" anchorCtr="0">
            <a:noAutofit/>
          </a:bodyPr>
          <a:lstStyle/>
          <a:p>
            <a:pPr algn="ctr" fontAlgn="auto">
              <a:spcBef>
                <a:spcPct val="0"/>
              </a:spcBef>
              <a:buClr>
                <a:srgbClr val="879BAA"/>
              </a:buClr>
            </a:pPr>
            <a:endParaRPr lang="en-US" sz="1000" b="1" kern="0" dirty="0" smtClean="0">
              <a:solidFill>
                <a:srgbClr val="000000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8" name="Title 3"/>
          <p:cNvSpPr>
            <a:spLocks noGrp="1"/>
          </p:cNvSpPr>
          <p:nvPr>
            <p:ph type="title"/>
          </p:nvPr>
        </p:nvSpPr>
        <p:spPr>
          <a:xfrm>
            <a:off x="539262" y="263526"/>
            <a:ext cx="6396404" cy="809625"/>
          </a:xfrm>
        </p:spPr>
        <p:txBody>
          <a:bodyPr/>
          <a:lstStyle/>
          <a:p>
            <a:r>
              <a:rPr lang="en-US" altLang="zh-CN" sz="1800" dirty="0" smtClean="0">
                <a:latin typeface="Arial" pitchFamily="34" charset="0"/>
                <a:ea typeface="宋体" pitchFamily="2" charset="-122"/>
              </a:rPr>
              <a:t>1. </a:t>
            </a:r>
            <a:r>
              <a:rPr lang="zh-CN" altLang="en-US" sz="1800" dirty="0" smtClean="0">
                <a:latin typeface="Arial" pitchFamily="34" charset="0"/>
                <a:ea typeface="宋体" pitchFamily="2" charset="-122"/>
              </a:rPr>
              <a:t>登录</a:t>
            </a:r>
            <a:r>
              <a:rPr lang="en-US" altLang="zh-CN" sz="1800" dirty="0" smtClean="0">
                <a:latin typeface="Arial" pitchFamily="34" charset="0"/>
                <a:ea typeface="宋体" pitchFamily="2" charset="-122"/>
              </a:rPr>
              <a:t>OA</a:t>
            </a:r>
            <a:r>
              <a:rPr lang="zh-CN" altLang="en-US" sz="1800" dirty="0" smtClean="0">
                <a:latin typeface="Arial" pitchFamily="34" charset="0"/>
                <a:ea typeface="宋体" pitchFamily="2" charset="-122"/>
              </a:rPr>
              <a:t>，</a:t>
            </a:r>
            <a:r>
              <a:rPr lang="zh-CN" altLang="en-US" sz="1800" dirty="0" smtClean="0">
                <a:latin typeface="Arial" pitchFamily="34" charset="0"/>
                <a:ea typeface="宋体" pitchFamily="2" charset="-122"/>
              </a:rPr>
              <a:t>选择“会议管理”</a:t>
            </a:r>
            <a:endParaRPr lang="en-US" sz="1800" dirty="0"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684035" name="Picture 3" descr="C:\Users\C00055\Desktop\1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6225" y="1468607"/>
            <a:ext cx="7986427" cy="4551193"/>
          </a:xfrm>
          <a:prstGeom prst="rect">
            <a:avLst/>
          </a:prstGeom>
          <a:noFill/>
        </p:spPr>
      </p:pic>
      <p:sp>
        <p:nvSpPr>
          <p:cNvPr id="25" name="左箭头 24"/>
          <p:cNvSpPr/>
          <p:nvPr/>
        </p:nvSpPr>
        <p:spPr bwMode="auto">
          <a:xfrm>
            <a:off x="8115300" y="2476500"/>
            <a:ext cx="704850" cy="428625"/>
          </a:xfrm>
          <a:prstGeom prst="leftArrow">
            <a:avLst/>
          </a:prstGeom>
          <a:solidFill>
            <a:srgbClr val="FF99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52000" tIns="0" rIns="108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smtClean="0">
              <a:ln>
                <a:noFill/>
              </a:ln>
              <a:solidFill>
                <a:srgbClr val="E2E2E2"/>
              </a:solidFill>
              <a:effectLst/>
              <a:latin typeface="Arial" charset="0"/>
              <a:ea typeface="SimSun" pitchFamily="2" charset="-122"/>
              <a:cs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4307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756546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81378" name="think-cell Slide" r:id="rId5" imgW="360" imgH="360" progId="">
              <p:embed/>
            </p:oleObj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72000" rtlCol="0" anchor="t" anchorCtr="0">
            <a:noAutofit/>
          </a:bodyPr>
          <a:lstStyle/>
          <a:p>
            <a:pPr algn="ctr" fontAlgn="auto">
              <a:spcBef>
                <a:spcPct val="0"/>
              </a:spcBef>
              <a:buClr>
                <a:srgbClr val="879BAA"/>
              </a:buClr>
            </a:pPr>
            <a:endParaRPr lang="en-US" sz="1000" b="1" kern="0" dirty="0" smtClean="0">
              <a:solidFill>
                <a:srgbClr val="000000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8" name="Title 3"/>
          <p:cNvSpPr>
            <a:spLocks noGrp="1"/>
          </p:cNvSpPr>
          <p:nvPr>
            <p:ph type="title"/>
          </p:nvPr>
        </p:nvSpPr>
        <p:spPr>
          <a:xfrm>
            <a:off x="539262" y="263526"/>
            <a:ext cx="6396404" cy="809625"/>
          </a:xfrm>
        </p:spPr>
        <p:txBody>
          <a:bodyPr/>
          <a:lstStyle/>
          <a:p>
            <a:r>
              <a:rPr lang="en-US" altLang="zh-CN" sz="1800" dirty="0" smtClean="0">
                <a:latin typeface="Arial" pitchFamily="34" charset="0"/>
                <a:ea typeface="宋体" pitchFamily="2" charset="-122"/>
              </a:rPr>
              <a:t>2. </a:t>
            </a:r>
            <a:r>
              <a:rPr lang="zh-CN" altLang="en-US" sz="1800" dirty="0" smtClean="0">
                <a:latin typeface="Arial" pitchFamily="34" charset="0"/>
                <a:ea typeface="宋体" pitchFamily="2" charset="-122"/>
              </a:rPr>
              <a:t>在“会议室”下拉框中选择“施维”</a:t>
            </a:r>
            <a:endParaRPr lang="en-US" sz="1800" dirty="0"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1381380" name="Picture 4" descr="C:\Users\C00055\Desktop\2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88925" y="1458913"/>
            <a:ext cx="8190907" cy="4789487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</p:pic>
    </p:spTree>
    <p:extLst>
      <p:ext uri="{BB962C8B-B14F-4D97-AF65-F5344CB8AC3E}">
        <p14:creationId xmlns="" xmlns:p14="http://schemas.microsoft.com/office/powerpoint/2010/main" val="414307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756546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82402" name="think-cell Slide" r:id="rId5" imgW="360" imgH="360" progId="">
              <p:embed/>
            </p:oleObj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72000" rtlCol="0" anchor="t" anchorCtr="0">
            <a:noAutofit/>
          </a:bodyPr>
          <a:lstStyle/>
          <a:p>
            <a:pPr algn="ctr" fontAlgn="auto">
              <a:spcBef>
                <a:spcPct val="0"/>
              </a:spcBef>
              <a:buClr>
                <a:srgbClr val="879BAA"/>
              </a:buClr>
            </a:pPr>
            <a:endParaRPr lang="en-US" sz="1000" b="1" kern="0" dirty="0" smtClean="0">
              <a:solidFill>
                <a:srgbClr val="000000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8" name="Title 3"/>
          <p:cNvSpPr>
            <a:spLocks noGrp="1"/>
          </p:cNvSpPr>
          <p:nvPr>
            <p:ph type="title"/>
          </p:nvPr>
        </p:nvSpPr>
        <p:spPr>
          <a:xfrm>
            <a:off x="539262" y="263526"/>
            <a:ext cx="6396404" cy="809625"/>
          </a:xfrm>
        </p:spPr>
        <p:txBody>
          <a:bodyPr/>
          <a:lstStyle/>
          <a:p>
            <a:r>
              <a:rPr lang="en-US" altLang="zh-CN" sz="1800" dirty="0" smtClean="0">
                <a:latin typeface="Arial" pitchFamily="34" charset="0"/>
                <a:ea typeface="宋体" pitchFamily="2" charset="-122"/>
              </a:rPr>
              <a:t>3. </a:t>
            </a:r>
            <a:r>
              <a:rPr lang="zh-CN" altLang="en-US" sz="1800" dirty="0" smtClean="0">
                <a:latin typeface="Arial" pitchFamily="34" charset="0"/>
                <a:ea typeface="宋体" pitchFamily="2" charset="-122"/>
              </a:rPr>
              <a:t>单击日期，选择“会议室预约”</a:t>
            </a:r>
            <a:endParaRPr lang="en-US" sz="1800" dirty="0"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1381380" name="Picture 4" descr="C:\Users\C00055\Desktop\2.jpg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288925" y="1462708"/>
            <a:ext cx="8190907" cy="4781897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</p:pic>
    </p:spTree>
    <p:extLst>
      <p:ext uri="{BB962C8B-B14F-4D97-AF65-F5344CB8AC3E}">
        <p14:creationId xmlns="" xmlns:p14="http://schemas.microsoft.com/office/powerpoint/2010/main" val="414307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756546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83426" name="think-cell Slide" r:id="rId5" imgW="360" imgH="360" progId="">
              <p:embed/>
            </p:oleObj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72000" rtlCol="0" anchor="t" anchorCtr="0">
            <a:noAutofit/>
          </a:bodyPr>
          <a:lstStyle/>
          <a:p>
            <a:pPr algn="ctr" fontAlgn="auto">
              <a:spcBef>
                <a:spcPct val="0"/>
              </a:spcBef>
              <a:buClr>
                <a:srgbClr val="879BAA"/>
              </a:buClr>
            </a:pPr>
            <a:endParaRPr lang="en-US" sz="1000" b="1" kern="0" dirty="0" smtClean="0">
              <a:solidFill>
                <a:srgbClr val="000000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8" name="Title 3"/>
          <p:cNvSpPr>
            <a:spLocks noGrp="1"/>
          </p:cNvSpPr>
          <p:nvPr>
            <p:ph type="title"/>
          </p:nvPr>
        </p:nvSpPr>
        <p:spPr>
          <a:xfrm>
            <a:off x="539262" y="263526"/>
            <a:ext cx="6396404" cy="809625"/>
          </a:xfrm>
        </p:spPr>
        <p:txBody>
          <a:bodyPr/>
          <a:lstStyle/>
          <a:p>
            <a:r>
              <a:rPr lang="en-US" altLang="zh-CN" sz="1800" dirty="0" smtClean="0">
                <a:latin typeface="Arial" pitchFamily="34" charset="0"/>
                <a:ea typeface="宋体" pitchFamily="2" charset="-122"/>
              </a:rPr>
              <a:t>4. </a:t>
            </a:r>
            <a:r>
              <a:rPr lang="zh-CN" altLang="en-US" sz="1800" dirty="0" smtClean="0">
                <a:latin typeface="Arial" pitchFamily="34" charset="0"/>
                <a:ea typeface="宋体" pitchFamily="2" charset="-122"/>
              </a:rPr>
              <a:t>在弹出窗口输入会议信息，保存后完成预约</a:t>
            </a:r>
            <a:endParaRPr lang="en-US" sz="1800" dirty="0"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1381380" name="Picture 4" descr="C:\Users\C00055\Desktop\2.jpg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288925" y="1486739"/>
            <a:ext cx="8190907" cy="473383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</p:pic>
    </p:spTree>
    <p:extLst>
      <p:ext uri="{BB962C8B-B14F-4D97-AF65-F5344CB8AC3E}">
        <p14:creationId xmlns="" xmlns:p14="http://schemas.microsoft.com/office/powerpoint/2010/main" val="414307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756546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84450" name="think-cell Slide" r:id="rId5" imgW="360" imgH="360" progId="">
              <p:embed/>
            </p:oleObj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72000" rtlCol="0" anchor="t" anchorCtr="0">
            <a:noAutofit/>
          </a:bodyPr>
          <a:lstStyle/>
          <a:p>
            <a:pPr algn="ctr" fontAlgn="auto">
              <a:spcBef>
                <a:spcPct val="0"/>
              </a:spcBef>
              <a:buClr>
                <a:srgbClr val="879BAA"/>
              </a:buClr>
            </a:pPr>
            <a:endParaRPr lang="en-US" sz="1000" b="1" kern="0" dirty="0" smtClean="0">
              <a:solidFill>
                <a:srgbClr val="000000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8" name="Title 3"/>
          <p:cNvSpPr>
            <a:spLocks noGrp="1"/>
          </p:cNvSpPr>
          <p:nvPr>
            <p:ph type="title"/>
          </p:nvPr>
        </p:nvSpPr>
        <p:spPr>
          <a:xfrm>
            <a:off x="539262" y="263526"/>
            <a:ext cx="6396404" cy="809625"/>
          </a:xfrm>
        </p:spPr>
        <p:txBody>
          <a:bodyPr/>
          <a:lstStyle/>
          <a:p>
            <a:r>
              <a:rPr lang="en-US" altLang="zh-CN" sz="1800" dirty="0" smtClean="0">
                <a:latin typeface="Arial" pitchFamily="34" charset="0"/>
                <a:ea typeface="宋体" pitchFamily="2" charset="-122"/>
              </a:rPr>
              <a:t>5. </a:t>
            </a:r>
            <a:r>
              <a:rPr lang="zh-CN" altLang="en-US" sz="1800" dirty="0" smtClean="0">
                <a:latin typeface="Arial" pitchFamily="34" charset="0"/>
                <a:ea typeface="宋体" pitchFamily="2" charset="-122"/>
              </a:rPr>
              <a:t>返回日历界面可进行查看、删除、编辑等操作</a:t>
            </a:r>
            <a:endParaRPr lang="en-US" sz="1800" dirty="0"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1381380" name="Picture 4" descr="C:\Users\C00055\Desktop\2.jpg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298471" y="1486739"/>
            <a:ext cx="8171814" cy="473383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</p:pic>
    </p:spTree>
    <p:extLst>
      <p:ext uri="{BB962C8B-B14F-4D97-AF65-F5344CB8AC3E}">
        <p14:creationId xmlns="" xmlns:p14="http://schemas.microsoft.com/office/powerpoint/2010/main" val="414307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2&quot;&gt;&lt;elem m_fUsage=&quot;5.35612370717755490000E+000&quot;&gt;&lt;m_ppcolschidx val=&quot;0&quot;/&gt;&lt;m_rgb r=&quot;33&quot; g=&quot;cc&quot; b=&quot;33&quot;/&gt;&lt;/elem&gt;&lt;elem m_fUsage=&quot;2.82868511621697080000E+000&quot;&gt;&lt;m_ppcolschidx val=&quot;0&quot;/&gt;&lt;m_rgb r=&quot;cc&quot; g=&quot;33&quot; b=&quot;0&quot;/&gt;&lt;/elem&gt;&lt;elem m_fUsage=&quot;1.00000000000000000000E+000&quot;&gt;&lt;m_ppcolschidx val=&quot;0&quot;/&gt;&lt;m_rgb r=&quot;6&quot; g=&quot;7d&quot; b=&quot;21&quot;/&gt;&lt;/elem&gt;&lt;elem m_fUsage=&quot;3.95087690050071220000E-001&quot;&gt;&lt;m_ppcolschidx val=&quot;0&quot;/&gt;&lt;m_rgb r=&quot;ef&quot; g=&quot;b6&quot; b=&quot;5f&quot;/&gt;&lt;/elem&gt;&lt;elem m_fUsage=&quot;3.72974702941470670000E-001&quot;&gt;&lt;m_ppcolschidx val=&quot;0&quot;/&gt;&lt;m_rgb r=&quot;a0&quot; g=&quot;c2&quot; b=&quot;e9&quot;/&gt;&lt;/elem&gt;&lt;elem m_fUsage=&quot;4.71012869724624920000E-002&quot;&gt;&lt;m_ppcolschidx val=&quot;0&quot;/&gt;&lt;m_rgb r=&quot;ff&quot; g=&quot;99&quot; b=&quot;0&quot;/&gt;&lt;/elem&gt;&lt;elem m_fUsage=&quot;2.67980842548798570000E-005&quot;&gt;&lt;m_ppcolschidx val=&quot;0&quot;/&gt;&lt;m_rgb r=&quot;c1&quot; g=&quot;e0&quot; b=&quot;ff&quot;/&gt;&lt;/elem&gt;&lt;elem m_fUsage=&quot;9.97938882337113230000E-008&quot;&gt;&lt;m_ppcolschidx val=&quot;0&quot;/&gt;&lt;m_rgb r=&quot;99&quot; g=&quot;99&quot; b=&quot;99&quot;/&gt;&lt;/elem&gt;&lt;elem m_fUsage=&quot;9.97938882337113230000E-008&quot;&gt;&lt;m_ppcolschidx val=&quot;0&quot;/&gt;&lt;m_rgb r=&quot;cc&quot; g=&quot;cc&quot; b=&quot;cc&quot;/&gt;&lt;/elem&gt;&lt;elem m_fUsage=&quot;9.97938882337113230000E-008&quot;&gt;&lt;m_ppcolschidx val=&quot;0&quot;/&gt;&lt;m_rgb r=&quot;0&quot; g=&quot;33&quot; b=&quot;99&quot;/&gt;&lt;/elem&gt;&lt;elem m_fUsage=&quot;9.97938882337113230000E-008&quot;&gt;&lt;m_ppcolschidx val=&quot;0&quot;/&gt;&lt;m_rgb r=&quot;33&quot; g=&quot;66&quot; b=&quot;aa&quot;/&gt;&lt;/elem&gt;&lt;elem m_fUsage=&quot;9.97938882337113230000E-008&quot;&gt;&lt;m_ppcolschidx val=&quot;0&quot;/&gt;&lt;m_rgb r=&quot;96&quot; g=&quot;b4&quot; b=&quot;d7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MinusSymbol&gt;-&lt;/m_chMinus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z2hwi_Z0y40F2M160J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z2hwi_Z0y40F2M160J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z2hwi_Z0y40F2M160J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z2hwi_Z0y40F2M160J7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z2hwi_Z0y40F2M160J7A"/>
</p:tagLst>
</file>

<file path=ppt/theme/theme1.xml><?xml version="1.0" encoding="utf-8"?>
<a:theme xmlns:a="http://schemas.openxmlformats.org/drawingml/2006/main" name="1_default">
  <a:themeElements>
    <a:clrScheme name="1_default 1">
      <a:dk1>
        <a:srgbClr val="000000"/>
      </a:dk1>
      <a:lt1>
        <a:srgbClr val="FFFFFF"/>
      </a:lt1>
      <a:dk2>
        <a:srgbClr val="999999"/>
      </a:dk2>
      <a:lt2>
        <a:srgbClr val="FFFFFF"/>
      </a:lt2>
      <a:accent1>
        <a:srgbClr val="CCCCCC"/>
      </a:accent1>
      <a:accent2>
        <a:srgbClr val="96B4D7"/>
      </a:accent2>
      <a:accent3>
        <a:srgbClr val="FFFFFF"/>
      </a:accent3>
      <a:accent4>
        <a:srgbClr val="000000"/>
      </a:accent4>
      <a:accent5>
        <a:srgbClr val="E2E2E2"/>
      </a:accent5>
      <a:accent6>
        <a:srgbClr val="87A3C3"/>
      </a:accent6>
      <a:hlink>
        <a:srgbClr val="3366AA"/>
      </a:hlink>
      <a:folHlink>
        <a:srgbClr val="CC0000"/>
      </a:folHlink>
    </a:clrScheme>
    <a:fontScheme name="1_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252000" tIns="0" rIns="10800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1" i="0" u="none" strike="noStrike" cap="none" normalizeH="0" baseline="0" smtClean="0">
            <a:ln>
              <a:noFill/>
            </a:ln>
            <a:solidFill>
              <a:srgbClr val="E2E2E2"/>
            </a:solidFill>
            <a:effectLst/>
            <a:latin typeface="Arial" charset="0"/>
            <a:ea typeface="SimSun" pitchFamily="2" charset="-122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252000" tIns="0" rIns="10800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1" i="0" u="none" strike="noStrike" cap="none" normalizeH="0" baseline="0" smtClean="0">
            <a:ln>
              <a:noFill/>
            </a:ln>
            <a:solidFill>
              <a:srgbClr val="E2E2E2"/>
            </a:solidFill>
            <a:effectLst/>
            <a:latin typeface="Arial" charset="0"/>
            <a:ea typeface="SimSun" pitchFamily="2" charset="-122"/>
            <a:cs typeface="Arial" charset="0"/>
          </a:defRPr>
        </a:defPPr>
      </a:lstStyle>
    </a:lnDef>
  </a:objectDefaults>
  <a:extraClrSchemeLst>
    <a:extraClrScheme>
      <a:clrScheme name="1_default 1">
        <a:dk1>
          <a:srgbClr val="000000"/>
        </a:dk1>
        <a:lt1>
          <a:srgbClr val="FFFFFF"/>
        </a:lt1>
        <a:dk2>
          <a:srgbClr val="999999"/>
        </a:dk2>
        <a:lt2>
          <a:srgbClr val="FFFFFF"/>
        </a:lt2>
        <a:accent1>
          <a:srgbClr val="CCCCCC"/>
        </a:accent1>
        <a:accent2>
          <a:srgbClr val="96B4D7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87A3C3"/>
        </a:accent6>
        <a:hlink>
          <a:srgbClr val="3366AA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p4ppTags>
  <Name>Two columns + Navigation</Name>
  <PpLayout>32</PpLayout>
  <Index>18</Index>
</p4ppTags>
</file>

<file path=customXml/item2.xml><?xml version="1.0" encoding="utf-8"?>
<p4ppTags>
  <Name>Image + Index/Contact</Name>
  <PpLayout>32</PpLayout>
  <Index>7</Index>
</p4ppTags>
</file>

<file path=customXml/item3.xml><?xml version="1.0" encoding="utf-8"?>
<p4ppTags>
  <Name>Title (big bar down)</Name>
  <PpLayout>1</PpLayout>
  <Index>1</Index>
</p4ppTags>
</file>

<file path=customXml/item4.xml><?xml version="1.0" encoding="utf-8"?>
<p4ppTags>
  <Name>Image + Index/Contact</Name>
  <PpLayout>32</PpLayout>
  <Index>7</Index>
</p4ppTags>
</file>

<file path=customXml/item5.xml><?xml version="1.0" encoding="utf-8"?>
<p4ppTags>
  <Name>Free Content</Name>
  <PpLayout>11</PpLayout>
  <Index>9</Index>
</p4ppTags>
</file>

<file path=customXml/item6.xml><?xml version="1.0" encoding="utf-8"?>
<p4ppTags>
  <Name>Free Content</Name>
  <PpLayout>11</PpLayout>
  <Index>9</Index>
</p4ppTags>
</file>

<file path=customXml/item7.xml><?xml version="1.0" encoding="utf-8"?>
<p4ppTags>
  <Name>One object (large)</Name>
  <PpLayout>16</PpLayout>
  <Index>10</Index>
</p4ppTags>
</file>

<file path=customXml/itemProps1.xml><?xml version="1.0" encoding="utf-8"?>
<ds:datastoreItem xmlns:ds="http://schemas.openxmlformats.org/officeDocument/2006/customXml" ds:itemID="{949C9927-725C-48F0-918F-C1DA6E293453}">
  <ds:schemaRefs/>
</ds:datastoreItem>
</file>

<file path=customXml/itemProps2.xml><?xml version="1.0" encoding="utf-8"?>
<ds:datastoreItem xmlns:ds="http://schemas.openxmlformats.org/officeDocument/2006/customXml" ds:itemID="{05EDD9C4-B76F-4E35-A91B-705D07586239}">
  <ds:schemaRefs/>
</ds:datastoreItem>
</file>

<file path=customXml/itemProps3.xml><?xml version="1.0" encoding="utf-8"?>
<ds:datastoreItem xmlns:ds="http://schemas.openxmlformats.org/officeDocument/2006/customXml" ds:itemID="{FA4F3215-7333-45AB-9CD8-6C8C41F3D5AE}">
  <ds:schemaRefs/>
</ds:datastoreItem>
</file>

<file path=customXml/itemProps4.xml><?xml version="1.0" encoding="utf-8"?>
<ds:datastoreItem xmlns:ds="http://schemas.openxmlformats.org/officeDocument/2006/customXml" ds:itemID="{97BCAA3B-70D7-44FD-BE96-C5BD4E365F81}">
  <ds:schemaRefs/>
</ds:datastoreItem>
</file>

<file path=customXml/itemProps5.xml><?xml version="1.0" encoding="utf-8"?>
<ds:datastoreItem xmlns:ds="http://schemas.openxmlformats.org/officeDocument/2006/customXml" ds:itemID="{B3B6491D-0C8A-422B-8028-32A14BE56855}">
  <ds:schemaRefs/>
</ds:datastoreItem>
</file>

<file path=customXml/itemProps6.xml><?xml version="1.0" encoding="utf-8"?>
<ds:datastoreItem xmlns:ds="http://schemas.openxmlformats.org/officeDocument/2006/customXml" ds:itemID="{B57A4EA6-C2D9-4A0B-B1C7-1567E15B9F1B}">
  <ds:schemaRefs/>
</ds:datastoreItem>
</file>

<file path=customXml/itemProps7.xml><?xml version="1.0" encoding="utf-8"?>
<ds:datastoreItem xmlns:ds="http://schemas.openxmlformats.org/officeDocument/2006/customXml" ds:itemID="{9B0D767C-D125-41BB-8D88-47739096754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76</TotalTime>
  <Words>75</Words>
  <Application>Microsoft Office PowerPoint</Application>
  <PresentationFormat>全屏显示(4:3)</PresentationFormat>
  <Paragraphs>15</Paragraphs>
  <Slides>6</Slides>
  <Notes>5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8" baseType="lpstr">
      <vt:lpstr>1_default</vt:lpstr>
      <vt:lpstr>think-cell Slide</vt:lpstr>
      <vt:lpstr>幻灯片 0</vt:lpstr>
      <vt:lpstr>1. 登录OA，选择“会议管理”</vt:lpstr>
      <vt:lpstr>2. 在“会议室”下拉框中选择“施维”</vt:lpstr>
      <vt:lpstr>3. 单击日期，选择“会议室预约”</vt:lpstr>
      <vt:lpstr>4. 在弹出窗口输入会议信息，保存后完成预约</vt:lpstr>
      <vt:lpstr>5. 返回日历界面可进行查看、删除、编辑等操作</vt:lpstr>
    </vt:vector>
  </TitlesOfParts>
  <Company>Siemens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s SR 2010 Division</dc:title>
  <dc:creator>Michael Sieglin</dc:creator>
  <cp:keywords>C_Unrestricted</cp:keywords>
  <cp:lastModifiedBy>Zou Zhuozhuo</cp:lastModifiedBy>
  <cp:revision>3245</cp:revision>
  <cp:lastPrinted>2008-01-10T10:47:45Z</cp:lastPrinted>
  <dcterms:created xsi:type="dcterms:W3CDTF">2006-09-27T11:49:21Z</dcterms:created>
  <dcterms:modified xsi:type="dcterms:W3CDTF">2019-03-11T07:4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3" name="_NewReviewCycle">
    <vt:lpwstr/>
  </property>
  <property fmtid="{D5CDD505-2E9C-101B-9397-08002B2CF9AE}" pid="8" name="Document Confidentiality">
    <vt:lpwstr>Unrestricted</vt:lpwstr>
  </property>
</Properties>
</file>